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59.xml" ContentType="application/vnd.openxmlformats-officedocument.presentationml.slide+xml"/>
  <Override PartName="/ppt/tags/tag249.xml" ContentType="application/vnd.openxmlformats-officedocument.presentationml.tags+xml"/>
  <Override PartName="/ppt/notesSlides/notesSlide59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52" r:id="rId6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59.xml" Id="rId62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6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59.xml.rels>&#65279;<?xml version="1.0" encoding="utf-8"?><Relationships xmlns="http://schemas.openxmlformats.org/package/2006/relationships"><Relationship Type="http://schemas.openxmlformats.org/officeDocument/2006/relationships/slide" Target="/ppt/slides/slide59.xml" Id="rId2" /><Relationship Type="http://schemas.openxmlformats.org/officeDocument/2006/relationships/notesMaster" Target="/ppt/notesMasters/notesMaster1.xml" Id="rId1" /></Relationship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122346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59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49.xml" Id="rId2" /><Relationship Type="http://schemas.openxmlformats.org/officeDocument/2006/relationships/vmlDrawing" Target="/ppt/drawings/vmlDrawing63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63.bin" Id="rId5" /><Relationship Type="http://schemas.openxmlformats.org/officeDocument/2006/relationships/notesSlide" Target="/ppt/notesSlides/notesSlide59.xml" Id="rId4" /></Relationships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588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wo barometers with text </a:t>
            </a:r>
          </a:p>
        </p:txBody>
      </p:sp>
      <p:sp>
        <p:nvSpPr>
          <p:cNvPr id="20" name="object 13">
            <a:extLst>
              <a:ext uri="{FF2B5EF4-FFF2-40B4-BE49-F238E27FC236}">
                <a16:creationId xmlns:a16="http://schemas.microsoft.com/office/drawing/2014/main" id="{B3D945EC-C2AD-606A-5EE1-EA4A35B82B85}"/>
              </a:ext>
            </a:extLst>
          </p:cNvPr>
          <p:cNvSpPr>
            <a:spLocks/>
          </p:cNvSpPr>
          <p:nvPr/>
        </p:nvSpPr>
        <p:spPr>
          <a:xfrm>
            <a:off x="3067320" y="1673460"/>
            <a:ext cx="521903" cy="1043938"/>
          </a:xfrm>
          <a:custGeom>
            <a:avLst/>
            <a:gdLst/>
            <a:ahLst/>
            <a:cxnLst/>
            <a:rect l="l" t="t" r="r" b="b"/>
            <a:pathLst>
              <a:path w="967739" h="1935479">
                <a:moveTo>
                  <a:pt x="967740" y="260604"/>
                </a:moveTo>
                <a:lnTo>
                  <a:pt x="911352" y="227076"/>
                </a:lnTo>
                <a:lnTo>
                  <a:pt x="795528" y="170688"/>
                </a:lnTo>
                <a:lnTo>
                  <a:pt x="736092" y="143256"/>
                </a:lnTo>
                <a:lnTo>
                  <a:pt x="678180" y="121920"/>
                </a:lnTo>
                <a:lnTo>
                  <a:pt x="620268" y="99060"/>
                </a:lnTo>
                <a:lnTo>
                  <a:pt x="560832" y="79248"/>
                </a:lnTo>
                <a:lnTo>
                  <a:pt x="501396" y="62484"/>
                </a:lnTo>
                <a:lnTo>
                  <a:pt x="441960" y="47244"/>
                </a:lnTo>
                <a:lnTo>
                  <a:pt x="381000" y="35052"/>
                </a:lnTo>
                <a:lnTo>
                  <a:pt x="320040" y="24384"/>
                </a:lnTo>
                <a:lnTo>
                  <a:pt x="256032" y="15240"/>
                </a:lnTo>
                <a:lnTo>
                  <a:pt x="195072" y="9144"/>
                </a:lnTo>
                <a:lnTo>
                  <a:pt x="131064" y="4572"/>
                </a:lnTo>
                <a:lnTo>
                  <a:pt x="65532" y="1524"/>
                </a:lnTo>
                <a:lnTo>
                  <a:pt x="0" y="0"/>
                </a:lnTo>
                <a:lnTo>
                  <a:pt x="0" y="1935480"/>
                </a:lnTo>
                <a:lnTo>
                  <a:pt x="967740" y="260604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endParaRPr lang="en-US" sz="1600">
              <a:solidFill>
                <a:schemeClr val="accent1"/>
              </a:solidFill>
            </a:endParaRPr>
          </a:p>
        </p:txBody>
      </p:sp>
      <p:sp>
        <p:nvSpPr>
          <p:cNvPr id="21" name="object 14">
            <a:extLst>
              <a:ext uri="{FF2B5EF4-FFF2-40B4-BE49-F238E27FC236}">
                <a16:creationId xmlns:a16="http://schemas.microsoft.com/office/drawing/2014/main" id="{382A0F8A-553F-60D5-F566-1E31D54B2F48}"/>
              </a:ext>
            </a:extLst>
          </p:cNvPr>
          <p:cNvSpPr>
            <a:spLocks/>
          </p:cNvSpPr>
          <p:nvPr/>
        </p:nvSpPr>
        <p:spPr>
          <a:xfrm>
            <a:off x="3067320" y="1814023"/>
            <a:ext cx="904083" cy="903513"/>
          </a:xfrm>
          <a:custGeom>
            <a:avLst/>
            <a:gdLst/>
            <a:ahLst/>
            <a:cxnLst/>
            <a:rect l="l" t="t" r="r" b="b"/>
            <a:pathLst>
              <a:path w="1676400" h="1675129">
                <a:moveTo>
                  <a:pt x="1676400" y="708660"/>
                </a:moveTo>
                <a:lnTo>
                  <a:pt x="1642872" y="650748"/>
                </a:lnTo>
                <a:lnTo>
                  <a:pt x="1607820" y="595884"/>
                </a:lnTo>
                <a:lnTo>
                  <a:pt x="1572768" y="542544"/>
                </a:lnTo>
                <a:lnTo>
                  <a:pt x="1534668" y="490728"/>
                </a:lnTo>
                <a:lnTo>
                  <a:pt x="1495044" y="443484"/>
                </a:lnTo>
                <a:lnTo>
                  <a:pt x="1455420" y="394716"/>
                </a:lnTo>
                <a:lnTo>
                  <a:pt x="1412748" y="348996"/>
                </a:lnTo>
                <a:lnTo>
                  <a:pt x="1370076" y="304800"/>
                </a:lnTo>
                <a:lnTo>
                  <a:pt x="1325880" y="262128"/>
                </a:lnTo>
                <a:lnTo>
                  <a:pt x="1280160" y="220980"/>
                </a:lnTo>
                <a:lnTo>
                  <a:pt x="1232916" y="179832"/>
                </a:lnTo>
                <a:lnTo>
                  <a:pt x="1184148" y="141732"/>
                </a:lnTo>
                <a:lnTo>
                  <a:pt x="1132332" y="103632"/>
                </a:lnTo>
                <a:lnTo>
                  <a:pt x="1078992" y="67056"/>
                </a:lnTo>
                <a:lnTo>
                  <a:pt x="1024128" y="33528"/>
                </a:lnTo>
                <a:lnTo>
                  <a:pt x="967740" y="0"/>
                </a:lnTo>
                <a:lnTo>
                  <a:pt x="0" y="1674876"/>
                </a:lnTo>
                <a:lnTo>
                  <a:pt x="1676400" y="708660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endParaRPr lang="en-US" sz="1600">
              <a:solidFill>
                <a:schemeClr val="accent1"/>
              </a:solidFill>
            </a:endParaRPr>
          </a:p>
        </p:txBody>
      </p:sp>
      <p:sp>
        <p:nvSpPr>
          <p:cNvPr id="22" name="object 15">
            <a:extLst>
              <a:ext uri="{FF2B5EF4-FFF2-40B4-BE49-F238E27FC236}">
                <a16:creationId xmlns:a16="http://schemas.microsoft.com/office/drawing/2014/main" id="{5E15C67B-A254-EFBF-041F-69DA2689D078}"/>
              </a:ext>
            </a:extLst>
          </p:cNvPr>
          <p:cNvSpPr>
            <a:spLocks/>
          </p:cNvSpPr>
          <p:nvPr/>
        </p:nvSpPr>
        <p:spPr>
          <a:xfrm>
            <a:off x="3067320" y="2196252"/>
            <a:ext cx="1043806" cy="521283"/>
          </a:xfrm>
          <a:custGeom>
            <a:avLst/>
            <a:gdLst/>
            <a:ahLst/>
            <a:cxnLst/>
            <a:rect l="l" t="t" r="r" b="b"/>
            <a:pathLst>
              <a:path w="1935479" h="966470">
                <a:moveTo>
                  <a:pt x="1935480" y="966216"/>
                </a:moveTo>
                <a:lnTo>
                  <a:pt x="1932432" y="835152"/>
                </a:lnTo>
                <a:lnTo>
                  <a:pt x="1927860" y="772668"/>
                </a:lnTo>
                <a:lnTo>
                  <a:pt x="1920240" y="707136"/>
                </a:lnTo>
                <a:lnTo>
                  <a:pt x="1911096" y="646176"/>
                </a:lnTo>
                <a:lnTo>
                  <a:pt x="1900428" y="585216"/>
                </a:lnTo>
                <a:lnTo>
                  <a:pt x="1872996" y="464820"/>
                </a:lnTo>
                <a:lnTo>
                  <a:pt x="1856232" y="405384"/>
                </a:lnTo>
                <a:lnTo>
                  <a:pt x="1837944" y="345948"/>
                </a:lnTo>
                <a:lnTo>
                  <a:pt x="1815084" y="288036"/>
                </a:lnTo>
                <a:lnTo>
                  <a:pt x="1766316" y="172212"/>
                </a:lnTo>
                <a:lnTo>
                  <a:pt x="1738884" y="114300"/>
                </a:lnTo>
                <a:lnTo>
                  <a:pt x="1706880" y="56388"/>
                </a:lnTo>
                <a:lnTo>
                  <a:pt x="1676400" y="0"/>
                </a:lnTo>
                <a:lnTo>
                  <a:pt x="0" y="966216"/>
                </a:lnTo>
                <a:lnTo>
                  <a:pt x="1935480" y="966216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endParaRPr lang="en-US" sz="1600">
              <a:solidFill>
                <a:schemeClr val="accent1"/>
              </a:solidFill>
            </a:endParaRPr>
          </a:p>
        </p:txBody>
      </p:sp>
      <p:sp>
        <p:nvSpPr>
          <p:cNvPr id="23" name="object 16">
            <a:extLst>
              <a:ext uri="{FF2B5EF4-FFF2-40B4-BE49-F238E27FC236}">
                <a16:creationId xmlns:a16="http://schemas.microsoft.com/office/drawing/2014/main" id="{6DA622E5-8CAE-D54F-3651-C04108DB4C9A}"/>
              </a:ext>
            </a:extLst>
          </p:cNvPr>
          <p:cNvSpPr>
            <a:spLocks/>
          </p:cNvSpPr>
          <p:nvPr/>
        </p:nvSpPr>
        <p:spPr>
          <a:xfrm>
            <a:off x="3067320" y="2717399"/>
            <a:ext cx="1043806" cy="522997"/>
          </a:xfrm>
          <a:custGeom>
            <a:avLst/>
            <a:gdLst/>
            <a:ahLst/>
            <a:cxnLst/>
            <a:rect l="l" t="t" r="r" b="b"/>
            <a:pathLst>
              <a:path w="1935479" h="969645">
                <a:moveTo>
                  <a:pt x="1935480" y="0"/>
                </a:moveTo>
                <a:lnTo>
                  <a:pt x="0" y="0"/>
                </a:lnTo>
                <a:lnTo>
                  <a:pt x="1676400" y="969264"/>
                </a:lnTo>
                <a:lnTo>
                  <a:pt x="1706880" y="909828"/>
                </a:lnTo>
                <a:lnTo>
                  <a:pt x="1738884" y="853440"/>
                </a:lnTo>
                <a:lnTo>
                  <a:pt x="1766316" y="795528"/>
                </a:lnTo>
                <a:lnTo>
                  <a:pt x="1790700" y="736092"/>
                </a:lnTo>
                <a:lnTo>
                  <a:pt x="1815084" y="678180"/>
                </a:lnTo>
                <a:lnTo>
                  <a:pt x="1837944" y="620268"/>
                </a:lnTo>
                <a:lnTo>
                  <a:pt x="1856232" y="562356"/>
                </a:lnTo>
                <a:lnTo>
                  <a:pt x="1872996" y="501396"/>
                </a:lnTo>
                <a:lnTo>
                  <a:pt x="1900428" y="382524"/>
                </a:lnTo>
                <a:lnTo>
                  <a:pt x="1911096" y="320040"/>
                </a:lnTo>
                <a:lnTo>
                  <a:pt x="1920240" y="259080"/>
                </a:lnTo>
                <a:lnTo>
                  <a:pt x="1927860" y="196596"/>
                </a:lnTo>
                <a:lnTo>
                  <a:pt x="1932432" y="131064"/>
                </a:lnTo>
                <a:lnTo>
                  <a:pt x="1935480" y="0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endParaRPr lang="en-US" sz="1600">
              <a:solidFill>
                <a:schemeClr val="accent1"/>
              </a:solidFill>
            </a:endParaRPr>
          </a:p>
        </p:txBody>
      </p:sp>
      <p:sp>
        <p:nvSpPr>
          <p:cNvPr id="24" name="object 17">
            <a:extLst>
              <a:ext uri="{FF2B5EF4-FFF2-40B4-BE49-F238E27FC236}">
                <a16:creationId xmlns:a16="http://schemas.microsoft.com/office/drawing/2014/main" id="{BD61ECD6-4EDE-78DA-AC6C-45812DBECE31}"/>
              </a:ext>
            </a:extLst>
          </p:cNvPr>
          <p:cNvSpPr>
            <a:spLocks/>
          </p:cNvSpPr>
          <p:nvPr/>
        </p:nvSpPr>
        <p:spPr>
          <a:xfrm>
            <a:off x="3067320" y="2717399"/>
            <a:ext cx="904083" cy="905226"/>
          </a:xfrm>
          <a:custGeom>
            <a:avLst/>
            <a:gdLst/>
            <a:ahLst/>
            <a:cxnLst/>
            <a:rect l="l" t="t" r="r" b="b"/>
            <a:pathLst>
              <a:path w="1676400" h="1678304">
                <a:moveTo>
                  <a:pt x="1676400" y="969264"/>
                </a:moveTo>
                <a:lnTo>
                  <a:pt x="0" y="0"/>
                </a:lnTo>
                <a:lnTo>
                  <a:pt x="967740" y="1677924"/>
                </a:lnTo>
                <a:lnTo>
                  <a:pt x="1024128" y="1641348"/>
                </a:lnTo>
                <a:lnTo>
                  <a:pt x="1078992" y="1607820"/>
                </a:lnTo>
                <a:lnTo>
                  <a:pt x="1132332" y="1571244"/>
                </a:lnTo>
                <a:lnTo>
                  <a:pt x="1184148" y="1534668"/>
                </a:lnTo>
                <a:lnTo>
                  <a:pt x="1232916" y="1495044"/>
                </a:lnTo>
                <a:lnTo>
                  <a:pt x="1280160" y="1455420"/>
                </a:lnTo>
                <a:lnTo>
                  <a:pt x="1325880" y="1414272"/>
                </a:lnTo>
                <a:lnTo>
                  <a:pt x="1370076" y="1371600"/>
                </a:lnTo>
                <a:lnTo>
                  <a:pt x="1412748" y="1327404"/>
                </a:lnTo>
                <a:lnTo>
                  <a:pt x="1455420" y="1280160"/>
                </a:lnTo>
                <a:lnTo>
                  <a:pt x="1495044" y="1232916"/>
                </a:lnTo>
                <a:lnTo>
                  <a:pt x="1534668" y="1184148"/>
                </a:lnTo>
                <a:lnTo>
                  <a:pt x="1572768" y="1132332"/>
                </a:lnTo>
                <a:lnTo>
                  <a:pt x="1607820" y="1080516"/>
                </a:lnTo>
                <a:lnTo>
                  <a:pt x="1642872" y="1025652"/>
                </a:lnTo>
                <a:lnTo>
                  <a:pt x="1676400" y="969264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endParaRPr lang="en-US" sz="1600">
              <a:solidFill>
                <a:schemeClr val="accent1"/>
              </a:solidFill>
            </a:endParaRPr>
          </a:p>
        </p:txBody>
      </p:sp>
      <p:sp>
        <p:nvSpPr>
          <p:cNvPr id="25" name="object 18">
            <a:extLst>
              <a:ext uri="{FF2B5EF4-FFF2-40B4-BE49-F238E27FC236}">
                <a16:creationId xmlns:a16="http://schemas.microsoft.com/office/drawing/2014/main" id="{9F55849B-9794-397A-E7B7-2977C8F166FF}"/>
              </a:ext>
            </a:extLst>
          </p:cNvPr>
          <p:cNvSpPr>
            <a:spLocks/>
          </p:cNvSpPr>
          <p:nvPr/>
        </p:nvSpPr>
        <p:spPr>
          <a:xfrm>
            <a:off x="2162414" y="2717399"/>
            <a:ext cx="905110" cy="905226"/>
          </a:xfrm>
          <a:custGeom>
            <a:avLst/>
            <a:gdLst/>
            <a:ahLst/>
            <a:cxnLst/>
            <a:rect l="l" t="t" r="r" b="b"/>
            <a:pathLst>
              <a:path w="1678304" h="1678304">
                <a:moveTo>
                  <a:pt x="1677924" y="0"/>
                </a:moveTo>
                <a:lnTo>
                  <a:pt x="0" y="969264"/>
                </a:lnTo>
                <a:lnTo>
                  <a:pt x="35052" y="1025652"/>
                </a:lnTo>
                <a:lnTo>
                  <a:pt x="70104" y="1080516"/>
                </a:lnTo>
                <a:lnTo>
                  <a:pt x="105156" y="1132332"/>
                </a:lnTo>
                <a:lnTo>
                  <a:pt x="143256" y="1184148"/>
                </a:lnTo>
                <a:lnTo>
                  <a:pt x="220980" y="1280160"/>
                </a:lnTo>
                <a:lnTo>
                  <a:pt x="263652" y="1327404"/>
                </a:lnTo>
                <a:lnTo>
                  <a:pt x="306324" y="1371600"/>
                </a:lnTo>
                <a:lnTo>
                  <a:pt x="350520" y="1414272"/>
                </a:lnTo>
                <a:lnTo>
                  <a:pt x="396240" y="1455420"/>
                </a:lnTo>
                <a:lnTo>
                  <a:pt x="443484" y="1495044"/>
                </a:lnTo>
                <a:lnTo>
                  <a:pt x="493776" y="1534668"/>
                </a:lnTo>
                <a:lnTo>
                  <a:pt x="545592" y="1571244"/>
                </a:lnTo>
                <a:lnTo>
                  <a:pt x="598932" y="1607820"/>
                </a:lnTo>
                <a:lnTo>
                  <a:pt x="710184" y="1677924"/>
                </a:lnTo>
                <a:lnTo>
                  <a:pt x="1677924" y="0"/>
                </a:lnTo>
                <a:close/>
              </a:path>
            </a:pathLst>
          </a:custGeom>
          <a:solidFill>
            <a:schemeClr val="accent5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endParaRPr lang="en-US" sz="1600">
              <a:solidFill>
                <a:schemeClr val="accent1"/>
              </a:solidFill>
            </a:endParaRPr>
          </a:p>
        </p:txBody>
      </p:sp>
      <p:sp>
        <p:nvSpPr>
          <p:cNvPr id="26" name="object 19">
            <a:extLst>
              <a:ext uri="{FF2B5EF4-FFF2-40B4-BE49-F238E27FC236}">
                <a16:creationId xmlns:a16="http://schemas.microsoft.com/office/drawing/2014/main" id="{C28E88B9-306A-DA33-7F9A-B2D6752AF2CB}"/>
              </a:ext>
            </a:extLst>
          </p:cNvPr>
          <p:cNvSpPr>
            <a:spLocks/>
          </p:cNvSpPr>
          <p:nvPr/>
        </p:nvSpPr>
        <p:spPr>
          <a:xfrm>
            <a:off x="2023515" y="2717399"/>
            <a:ext cx="1043806" cy="522997"/>
          </a:xfrm>
          <a:custGeom>
            <a:avLst/>
            <a:gdLst/>
            <a:ahLst/>
            <a:cxnLst/>
            <a:rect l="l" t="t" r="r" b="b"/>
            <a:pathLst>
              <a:path w="1935479" h="969645">
                <a:moveTo>
                  <a:pt x="1935480" y="0"/>
                </a:moveTo>
                <a:lnTo>
                  <a:pt x="0" y="0"/>
                </a:lnTo>
                <a:lnTo>
                  <a:pt x="0" y="67056"/>
                </a:lnTo>
                <a:lnTo>
                  <a:pt x="1524" y="131064"/>
                </a:lnTo>
                <a:lnTo>
                  <a:pt x="7620" y="196596"/>
                </a:lnTo>
                <a:lnTo>
                  <a:pt x="22860" y="320040"/>
                </a:lnTo>
                <a:lnTo>
                  <a:pt x="35052" y="382524"/>
                </a:lnTo>
                <a:lnTo>
                  <a:pt x="47244" y="441960"/>
                </a:lnTo>
                <a:lnTo>
                  <a:pt x="62484" y="501396"/>
                </a:lnTo>
                <a:lnTo>
                  <a:pt x="79248" y="562356"/>
                </a:lnTo>
                <a:lnTo>
                  <a:pt x="118872" y="678180"/>
                </a:lnTo>
                <a:lnTo>
                  <a:pt x="143256" y="736092"/>
                </a:lnTo>
                <a:lnTo>
                  <a:pt x="167640" y="795528"/>
                </a:lnTo>
                <a:lnTo>
                  <a:pt x="195072" y="853440"/>
                </a:lnTo>
                <a:lnTo>
                  <a:pt x="227076" y="909828"/>
                </a:lnTo>
                <a:lnTo>
                  <a:pt x="257556" y="969264"/>
                </a:lnTo>
                <a:lnTo>
                  <a:pt x="1935480" y="0"/>
                </a:lnTo>
                <a:close/>
              </a:path>
            </a:pathLst>
          </a:custGeom>
          <a:solidFill>
            <a:schemeClr val="accent5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endParaRPr lang="en-US" sz="1600">
              <a:solidFill>
                <a:schemeClr val="accent1"/>
              </a:solidFill>
            </a:endParaRPr>
          </a:p>
        </p:txBody>
      </p:sp>
      <p:sp>
        <p:nvSpPr>
          <p:cNvPr id="27" name="object 20">
            <a:extLst>
              <a:ext uri="{FF2B5EF4-FFF2-40B4-BE49-F238E27FC236}">
                <a16:creationId xmlns:a16="http://schemas.microsoft.com/office/drawing/2014/main" id="{9B2E2789-5FC8-DEB9-C06A-FB25F20F7FAE}"/>
              </a:ext>
            </a:extLst>
          </p:cNvPr>
          <p:cNvSpPr>
            <a:spLocks/>
          </p:cNvSpPr>
          <p:nvPr/>
        </p:nvSpPr>
        <p:spPr>
          <a:xfrm>
            <a:off x="2023515" y="2196252"/>
            <a:ext cx="1043806" cy="521283"/>
          </a:xfrm>
          <a:custGeom>
            <a:avLst/>
            <a:gdLst/>
            <a:ahLst/>
            <a:cxnLst/>
            <a:rect l="l" t="t" r="r" b="b"/>
            <a:pathLst>
              <a:path w="1935479" h="966470">
                <a:moveTo>
                  <a:pt x="1935480" y="966216"/>
                </a:moveTo>
                <a:lnTo>
                  <a:pt x="257556" y="0"/>
                </a:lnTo>
                <a:lnTo>
                  <a:pt x="227076" y="56388"/>
                </a:lnTo>
                <a:lnTo>
                  <a:pt x="195072" y="114300"/>
                </a:lnTo>
                <a:lnTo>
                  <a:pt x="167640" y="172212"/>
                </a:lnTo>
                <a:lnTo>
                  <a:pt x="118872" y="288036"/>
                </a:lnTo>
                <a:lnTo>
                  <a:pt x="79248" y="405384"/>
                </a:lnTo>
                <a:lnTo>
                  <a:pt x="62484" y="464820"/>
                </a:lnTo>
                <a:lnTo>
                  <a:pt x="47244" y="524256"/>
                </a:lnTo>
                <a:lnTo>
                  <a:pt x="22860" y="646176"/>
                </a:lnTo>
                <a:lnTo>
                  <a:pt x="7620" y="772668"/>
                </a:lnTo>
                <a:lnTo>
                  <a:pt x="1524" y="835152"/>
                </a:lnTo>
                <a:lnTo>
                  <a:pt x="0" y="900684"/>
                </a:lnTo>
                <a:lnTo>
                  <a:pt x="0" y="966216"/>
                </a:lnTo>
                <a:lnTo>
                  <a:pt x="1935480" y="966216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endParaRPr lang="en-US" sz="1600">
              <a:solidFill>
                <a:schemeClr val="accent1"/>
              </a:solidFill>
            </a:endParaRPr>
          </a:p>
        </p:txBody>
      </p:sp>
      <p:sp>
        <p:nvSpPr>
          <p:cNvPr id="28" name="object 21">
            <a:extLst>
              <a:ext uri="{FF2B5EF4-FFF2-40B4-BE49-F238E27FC236}">
                <a16:creationId xmlns:a16="http://schemas.microsoft.com/office/drawing/2014/main" id="{8AA2EB36-9930-0D10-549C-BAEDB86E42E6}"/>
              </a:ext>
            </a:extLst>
          </p:cNvPr>
          <p:cNvSpPr>
            <a:spLocks/>
          </p:cNvSpPr>
          <p:nvPr/>
        </p:nvSpPr>
        <p:spPr>
          <a:xfrm>
            <a:off x="2162414" y="1814023"/>
            <a:ext cx="905110" cy="903513"/>
          </a:xfrm>
          <a:custGeom>
            <a:avLst/>
            <a:gdLst/>
            <a:ahLst/>
            <a:cxnLst/>
            <a:rect l="l" t="t" r="r" b="b"/>
            <a:pathLst>
              <a:path w="1678304" h="1675129">
                <a:moveTo>
                  <a:pt x="1677924" y="1674876"/>
                </a:moveTo>
                <a:lnTo>
                  <a:pt x="710184" y="0"/>
                </a:lnTo>
                <a:lnTo>
                  <a:pt x="652272" y="33528"/>
                </a:lnTo>
                <a:lnTo>
                  <a:pt x="598932" y="67056"/>
                </a:lnTo>
                <a:lnTo>
                  <a:pt x="545592" y="103632"/>
                </a:lnTo>
                <a:lnTo>
                  <a:pt x="493776" y="141732"/>
                </a:lnTo>
                <a:lnTo>
                  <a:pt x="443484" y="179832"/>
                </a:lnTo>
                <a:lnTo>
                  <a:pt x="396240" y="220980"/>
                </a:lnTo>
                <a:lnTo>
                  <a:pt x="350520" y="262128"/>
                </a:lnTo>
                <a:lnTo>
                  <a:pt x="306324" y="304800"/>
                </a:lnTo>
                <a:lnTo>
                  <a:pt x="263652" y="348996"/>
                </a:lnTo>
                <a:lnTo>
                  <a:pt x="220980" y="394716"/>
                </a:lnTo>
                <a:lnTo>
                  <a:pt x="182880" y="443484"/>
                </a:lnTo>
                <a:lnTo>
                  <a:pt x="143256" y="490728"/>
                </a:lnTo>
                <a:lnTo>
                  <a:pt x="105156" y="542544"/>
                </a:lnTo>
                <a:lnTo>
                  <a:pt x="70104" y="595884"/>
                </a:lnTo>
                <a:lnTo>
                  <a:pt x="35052" y="650748"/>
                </a:lnTo>
                <a:lnTo>
                  <a:pt x="0" y="708660"/>
                </a:lnTo>
                <a:lnTo>
                  <a:pt x="1677924" y="1674876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endParaRPr lang="en-US" sz="1600">
              <a:solidFill>
                <a:schemeClr val="accent1"/>
              </a:solidFill>
            </a:endParaRPr>
          </a:p>
        </p:txBody>
      </p:sp>
      <p:sp>
        <p:nvSpPr>
          <p:cNvPr id="29" name="object 22">
            <a:extLst>
              <a:ext uri="{FF2B5EF4-FFF2-40B4-BE49-F238E27FC236}">
                <a16:creationId xmlns:a16="http://schemas.microsoft.com/office/drawing/2014/main" id="{E6027CED-34A9-4CF9-2417-99718E67EAC5}"/>
              </a:ext>
            </a:extLst>
          </p:cNvPr>
          <p:cNvSpPr>
            <a:spLocks/>
          </p:cNvSpPr>
          <p:nvPr/>
        </p:nvSpPr>
        <p:spPr>
          <a:xfrm>
            <a:off x="2545417" y="1673460"/>
            <a:ext cx="521903" cy="1043938"/>
          </a:xfrm>
          <a:custGeom>
            <a:avLst/>
            <a:gdLst/>
            <a:ahLst/>
            <a:cxnLst/>
            <a:rect l="l" t="t" r="r" b="b"/>
            <a:pathLst>
              <a:path w="967739" h="1935479">
                <a:moveTo>
                  <a:pt x="967740" y="1935480"/>
                </a:moveTo>
                <a:lnTo>
                  <a:pt x="967740" y="0"/>
                </a:lnTo>
                <a:lnTo>
                  <a:pt x="900684" y="1524"/>
                </a:lnTo>
                <a:lnTo>
                  <a:pt x="835152" y="4572"/>
                </a:lnTo>
                <a:lnTo>
                  <a:pt x="772668" y="9144"/>
                </a:lnTo>
                <a:lnTo>
                  <a:pt x="710184" y="15240"/>
                </a:lnTo>
                <a:lnTo>
                  <a:pt x="646176" y="24384"/>
                </a:lnTo>
                <a:lnTo>
                  <a:pt x="585216" y="35052"/>
                </a:lnTo>
                <a:lnTo>
                  <a:pt x="525780" y="47244"/>
                </a:lnTo>
                <a:lnTo>
                  <a:pt x="466344" y="62484"/>
                </a:lnTo>
                <a:lnTo>
                  <a:pt x="406908" y="79248"/>
                </a:lnTo>
                <a:lnTo>
                  <a:pt x="345948" y="99060"/>
                </a:lnTo>
                <a:lnTo>
                  <a:pt x="288036" y="121920"/>
                </a:lnTo>
                <a:lnTo>
                  <a:pt x="231648" y="143256"/>
                </a:lnTo>
                <a:lnTo>
                  <a:pt x="172212" y="170688"/>
                </a:lnTo>
                <a:lnTo>
                  <a:pt x="114300" y="198120"/>
                </a:lnTo>
                <a:lnTo>
                  <a:pt x="57912" y="227076"/>
                </a:lnTo>
                <a:lnTo>
                  <a:pt x="0" y="260604"/>
                </a:lnTo>
                <a:lnTo>
                  <a:pt x="967740" y="1935480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solidFill>
              <a:schemeClr val="bg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endParaRPr lang="en-US" sz="1600">
              <a:solidFill>
                <a:schemeClr val="accent1"/>
              </a:solidFill>
            </a:endParaRPr>
          </a:p>
        </p:txBody>
      </p:sp>
      <p:sp>
        <p:nvSpPr>
          <p:cNvPr id="30" name="Ellipse 62">
            <a:extLst>
              <a:ext uri="{FF2B5EF4-FFF2-40B4-BE49-F238E27FC236}">
                <a16:creationId xmlns:a16="http://schemas.microsoft.com/office/drawing/2014/main" id="{4E89F7E9-92F8-1CB2-E1B5-AAA41DF99CF7}"/>
              </a:ext>
            </a:extLst>
          </p:cNvPr>
          <p:cNvSpPr>
            <a:spLocks/>
          </p:cNvSpPr>
          <p:nvPr/>
        </p:nvSpPr>
        <p:spPr>
          <a:xfrm>
            <a:off x="1916397" y="1566261"/>
            <a:ext cx="2302257" cy="2302549"/>
          </a:xfrm>
          <a:prstGeom prst="ellipse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chemeClr val="accent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1" name="Ellipse 63">
            <a:extLst>
              <a:ext uri="{FF2B5EF4-FFF2-40B4-BE49-F238E27FC236}">
                <a16:creationId xmlns:a16="http://schemas.microsoft.com/office/drawing/2014/main" id="{E58D8301-D7AA-E309-9699-BD1A4721ACE2}"/>
              </a:ext>
            </a:extLst>
          </p:cNvPr>
          <p:cNvSpPr>
            <a:spLocks/>
          </p:cNvSpPr>
          <p:nvPr/>
        </p:nvSpPr>
        <p:spPr>
          <a:xfrm>
            <a:off x="2093279" y="1743236"/>
            <a:ext cx="1948082" cy="1948326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chemeClr val="accent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2" name="Textplatzhalter 8">
            <a:extLst>
              <a:ext uri="{FF2B5EF4-FFF2-40B4-BE49-F238E27FC236}">
                <a16:creationId xmlns:a16="http://schemas.microsoft.com/office/drawing/2014/main" id="{227A3929-F66C-F7D7-4EF2-71EEB320420F}"/>
              </a:ext>
            </a:extLst>
          </p:cNvPr>
          <p:cNvSpPr txBox="1">
            <a:spLocks/>
          </p:cNvSpPr>
          <p:nvPr/>
        </p:nvSpPr>
        <p:spPr bwMode="gray">
          <a:xfrm>
            <a:off x="2719079" y="3482494"/>
            <a:ext cx="696478" cy="22410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30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>
                <a:solidFill>
                  <a:schemeClr val="accent6"/>
                </a:solidFill>
              </a:rPr>
              <a:t>20%</a:t>
            </a:r>
          </a:p>
        </p:txBody>
      </p:sp>
      <p:sp>
        <p:nvSpPr>
          <p:cNvPr id="35" name="Textfeld 112">
            <a:extLst>
              <a:ext uri="{FF2B5EF4-FFF2-40B4-BE49-F238E27FC236}">
                <a16:creationId xmlns:a16="http://schemas.microsoft.com/office/drawing/2014/main" id="{BEBD4E0B-86A9-B536-67C2-DCC96A15D451}"/>
              </a:ext>
            </a:extLst>
          </p:cNvPr>
          <p:cNvSpPr txBox="1">
            <a:spLocks/>
          </p:cNvSpPr>
          <p:nvPr/>
        </p:nvSpPr>
        <p:spPr>
          <a:xfrm>
            <a:off x="419101" y="4366152"/>
            <a:ext cx="529685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36" name="Textfeld 113">
            <a:extLst>
              <a:ext uri="{FF2B5EF4-FFF2-40B4-BE49-F238E27FC236}">
                <a16:creationId xmlns:a16="http://schemas.microsoft.com/office/drawing/2014/main" id="{850EF7D7-5A15-4885-6FA0-BDA05A2F1788}"/>
              </a:ext>
            </a:extLst>
          </p:cNvPr>
          <p:cNvSpPr txBox="1">
            <a:spLocks/>
          </p:cNvSpPr>
          <p:nvPr/>
        </p:nvSpPr>
        <p:spPr>
          <a:xfrm>
            <a:off x="707070" y="4836500"/>
            <a:ext cx="4720912" cy="93871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0" lvl="1" algn="ctr"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consectetu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li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. Sed do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iusmo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tempo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incididun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labore et dolore magna. 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quis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37" name="Textfeld 114">
            <a:extLst>
              <a:ext uri="{FF2B5EF4-FFF2-40B4-BE49-F238E27FC236}">
                <a16:creationId xmlns:a16="http://schemas.microsoft.com/office/drawing/2014/main" id="{7FB62BCD-0960-11B6-0052-7F9346EAE261}"/>
              </a:ext>
            </a:extLst>
          </p:cNvPr>
          <p:cNvSpPr txBox="1">
            <a:spLocks/>
          </p:cNvSpPr>
          <p:nvPr/>
        </p:nvSpPr>
        <p:spPr>
          <a:xfrm>
            <a:off x="6512559" y="4366152"/>
            <a:ext cx="529685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38" name="Textfeld 115">
            <a:extLst>
              <a:ext uri="{FF2B5EF4-FFF2-40B4-BE49-F238E27FC236}">
                <a16:creationId xmlns:a16="http://schemas.microsoft.com/office/drawing/2014/main" id="{450D31EF-8E0D-FA08-C3F8-53760CF251AB}"/>
              </a:ext>
            </a:extLst>
          </p:cNvPr>
          <p:cNvSpPr txBox="1">
            <a:spLocks/>
          </p:cNvSpPr>
          <p:nvPr/>
        </p:nvSpPr>
        <p:spPr>
          <a:xfrm>
            <a:off x="6800528" y="4836500"/>
            <a:ext cx="4720912" cy="93871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0" lvl="1" algn="ctr"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consectetu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li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. Sed do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iusmo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tempo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incididun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labore et dolore magna. 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quis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39" name="Gleichschenkliges Dreieck 39">
            <a:extLst>
              <a:ext uri="{FF2B5EF4-FFF2-40B4-BE49-F238E27FC236}">
                <a16:creationId xmlns:a16="http://schemas.microsoft.com/office/drawing/2014/main" id="{5A9523CA-C673-F4FE-313F-2D1B735D2213}"/>
              </a:ext>
            </a:extLst>
          </p:cNvPr>
          <p:cNvSpPr>
            <a:spLocks/>
          </p:cNvSpPr>
          <p:nvPr/>
        </p:nvSpPr>
        <p:spPr>
          <a:xfrm rot="10800000">
            <a:off x="2915631" y="4061956"/>
            <a:ext cx="303379" cy="159723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0" name="Gleichschenkliges Dreieck 39">
            <a:extLst>
              <a:ext uri="{FF2B5EF4-FFF2-40B4-BE49-F238E27FC236}">
                <a16:creationId xmlns:a16="http://schemas.microsoft.com/office/drawing/2014/main" id="{44C8EBE0-D3D5-8C3D-8149-4048E99A7E4C}"/>
              </a:ext>
            </a:extLst>
          </p:cNvPr>
          <p:cNvSpPr>
            <a:spLocks/>
          </p:cNvSpPr>
          <p:nvPr/>
        </p:nvSpPr>
        <p:spPr>
          <a:xfrm rot="10800000">
            <a:off x="9009090" y="4061956"/>
            <a:ext cx="303379" cy="159723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ea typeface="+mn-ea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42717D5-C5AC-ECEA-5186-7111E0A44868}"/>
              </a:ext>
            </a:extLst>
          </p:cNvPr>
          <p:cNvGrpSpPr>
            <a:grpSpLocks/>
          </p:cNvGrpSpPr>
          <p:nvPr/>
        </p:nvGrpSpPr>
        <p:grpSpPr>
          <a:xfrm>
            <a:off x="8009856" y="1566261"/>
            <a:ext cx="2302257" cy="2302549"/>
            <a:chOff x="8009856" y="1566261"/>
            <a:chExt cx="2302257" cy="2302549"/>
          </a:xfrm>
        </p:grpSpPr>
        <p:sp>
          <p:nvSpPr>
            <p:cNvPr id="2" name="object 13">
              <a:extLst>
                <a:ext uri="{FF2B5EF4-FFF2-40B4-BE49-F238E27FC236}">
                  <a16:creationId xmlns:a16="http://schemas.microsoft.com/office/drawing/2014/main" id="{E13FF526-B09B-92D4-524B-87CA146F8BA0}"/>
                </a:ext>
              </a:extLst>
            </p:cNvPr>
            <p:cNvSpPr>
              <a:spLocks/>
            </p:cNvSpPr>
            <p:nvPr/>
          </p:nvSpPr>
          <p:spPr>
            <a:xfrm>
              <a:off x="9160779" y="1673460"/>
              <a:ext cx="521903" cy="1043938"/>
            </a:xfrm>
            <a:custGeom>
              <a:avLst/>
              <a:gdLst/>
              <a:ahLst/>
              <a:cxnLst/>
              <a:rect l="l" t="t" r="r" b="b"/>
              <a:pathLst>
                <a:path w="967739" h="1935479">
                  <a:moveTo>
                    <a:pt x="967740" y="260604"/>
                  </a:moveTo>
                  <a:lnTo>
                    <a:pt x="911352" y="227076"/>
                  </a:lnTo>
                  <a:lnTo>
                    <a:pt x="795528" y="170688"/>
                  </a:lnTo>
                  <a:lnTo>
                    <a:pt x="736092" y="143256"/>
                  </a:lnTo>
                  <a:lnTo>
                    <a:pt x="678180" y="121920"/>
                  </a:lnTo>
                  <a:lnTo>
                    <a:pt x="620268" y="99060"/>
                  </a:lnTo>
                  <a:lnTo>
                    <a:pt x="560832" y="79248"/>
                  </a:lnTo>
                  <a:lnTo>
                    <a:pt x="501396" y="62484"/>
                  </a:lnTo>
                  <a:lnTo>
                    <a:pt x="441960" y="47244"/>
                  </a:lnTo>
                  <a:lnTo>
                    <a:pt x="381000" y="35052"/>
                  </a:lnTo>
                  <a:lnTo>
                    <a:pt x="320040" y="24384"/>
                  </a:lnTo>
                  <a:lnTo>
                    <a:pt x="256032" y="15240"/>
                  </a:lnTo>
                  <a:lnTo>
                    <a:pt x="195072" y="9144"/>
                  </a:lnTo>
                  <a:lnTo>
                    <a:pt x="131064" y="4572"/>
                  </a:lnTo>
                  <a:lnTo>
                    <a:pt x="65532" y="1524"/>
                  </a:lnTo>
                  <a:lnTo>
                    <a:pt x="0" y="0"/>
                  </a:lnTo>
                  <a:lnTo>
                    <a:pt x="0" y="1935480"/>
                  </a:lnTo>
                  <a:lnTo>
                    <a:pt x="967740" y="260604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bg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/>
            <a:lstStyle/>
            <a:p>
              <a:endParaRPr lang="en-US" sz="1600"/>
            </a:p>
          </p:txBody>
        </p:sp>
        <p:sp>
          <p:nvSpPr>
            <p:cNvPr id="3" name="object 14">
              <a:extLst>
                <a:ext uri="{FF2B5EF4-FFF2-40B4-BE49-F238E27FC236}">
                  <a16:creationId xmlns:a16="http://schemas.microsoft.com/office/drawing/2014/main" id="{4F9A1BA4-BD2F-10D3-BD97-F1DE0CD07D70}"/>
                </a:ext>
              </a:extLst>
            </p:cNvPr>
            <p:cNvSpPr>
              <a:spLocks/>
            </p:cNvSpPr>
            <p:nvPr/>
          </p:nvSpPr>
          <p:spPr>
            <a:xfrm>
              <a:off x="9160779" y="1814023"/>
              <a:ext cx="904083" cy="903513"/>
            </a:xfrm>
            <a:custGeom>
              <a:avLst/>
              <a:gdLst/>
              <a:ahLst/>
              <a:cxnLst/>
              <a:rect l="l" t="t" r="r" b="b"/>
              <a:pathLst>
                <a:path w="1676400" h="1675129">
                  <a:moveTo>
                    <a:pt x="1676400" y="708660"/>
                  </a:moveTo>
                  <a:lnTo>
                    <a:pt x="1642872" y="650748"/>
                  </a:lnTo>
                  <a:lnTo>
                    <a:pt x="1607820" y="595884"/>
                  </a:lnTo>
                  <a:lnTo>
                    <a:pt x="1572768" y="542544"/>
                  </a:lnTo>
                  <a:lnTo>
                    <a:pt x="1534668" y="490728"/>
                  </a:lnTo>
                  <a:lnTo>
                    <a:pt x="1495044" y="443484"/>
                  </a:lnTo>
                  <a:lnTo>
                    <a:pt x="1455420" y="394716"/>
                  </a:lnTo>
                  <a:lnTo>
                    <a:pt x="1412748" y="348996"/>
                  </a:lnTo>
                  <a:lnTo>
                    <a:pt x="1370076" y="304800"/>
                  </a:lnTo>
                  <a:lnTo>
                    <a:pt x="1325880" y="262128"/>
                  </a:lnTo>
                  <a:lnTo>
                    <a:pt x="1280160" y="220980"/>
                  </a:lnTo>
                  <a:lnTo>
                    <a:pt x="1232916" y="179832"/>
                  </a:lnTo>
                  <a:lnTo>
                    <a:pt x="1184148" y="141732"/>
                  </a:lnTo>
                  <a:lnTo>
                    <a:pt x="1132332" y="103632"/>
                  </a:lnTo>
                  <a:lnTo>
                    <a:pt x="1078992" y="67056"/>
                  </a:lnTo>
                  <a:lnTo>
                    <a:pt x="1024128" y="33528"/>
                  </a:lnTo>
                  <a:lnTo>
                    <a:pt x="967740" y="0"/>
                  </a:lnTo>
                  <a:lnTo>
                    <a:pt x="0" y="1674876"/>
                  </a:lnTo>
                  <a:lnTo>
                    <a:pt x="1676400" y="708660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bg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/>
            <a:lstStyle/>
            <a:p>
              <a:endParaRPr lang="en-US" sz="1600"/>
            </a:p>
          </p:txBody>
        </p:sp>
        <p:sp>
          <p:nvSpPr>
            <p:cNvPr id="4" name="object 15">
              <a:extLst>
                <a:ext uri="{FF2B5EF4-FFF2-40B4-BE49-F238E27FC236}">
                  <a16:creationId xmlns:a16="http://schemas.microsoft.com/office/drawing/2014/main" id="{8D81EEBA-FF8D-AECC-9476-03AE1E75D402}"/>
                </a:ext>
              </a:extLst>
            </p:cNvPr>
            <p:cNvSpPr>
              <a:spLocks/>
            </p:cNvSpPr>
            <p:nvPr/>
          </p:nvSpPr>
          <p:spPr>
            <a:xfrm>
              <a:off x="9160779" y="2196252"/>
              <a:ext cx="1043806" cy="521283"/>
            </a:xfrm>
            <a:custGeom>
              <a:avLst/>
              <a:gdLst/>
              <a:ahLst/>
              <a:cxnLst/>
              <a:rect l="l" t="t" r="r" b="b"/>
              <a:pathLst>
                <a:path w="1935479" h="966470">
                  <a:moveTo>
                    <a:pt x="1935480" y="966216"/>
                  </a:moveTo>
                  <a:lnTo>
                    <a:pt x="1932432" y="835152"/>
                  </a:lnTo>
                  <a:lnTo>
                    <a:pt x="1927860" y="772668"/>
                  </a:lnTo>
                  <a:lnTo>
                    <a:pt x="1920240" y="707136"/>
                  </a:lnTo>
                  <a:lnTo>
                    <a:pt x="1911096" y="646176"/>
                  </a:lnTo>
                  <a:lnTo>
                    <a:pt x="1900428" y="585216"/>
                  </a:lnTo>
                  <a:lnTo>
                    <a:pt x="1872996" y="464820"/>
                  </a:lnTo>
                  <a:lnTo>
                    <a:pt x="1856232" y="405384"/>
                  </a:lnTo>
                  <a:lnTo>
                    <a:pt x="1837944" y="345948"/>
                  </a:lnTo>
                  <a:lnTo>
                    <a:pt x="1815084" y="288036"/>
                  </a:lnTo>
                  <a:lnTo>
                    <a:pt x="1766316" y="172212"/>
                  </a:lnTo>
                  <a:lnTo>
                    <a:pt x="1738884" y="114300"/>
                  </a:lnTo>
                  <a:lnTo>
                    <a:pt x="1706880" y="56388"/>
                  </a:lnTo>
                  <a:lnTo>
                    <a:pt x="1676400" y="0"/>
                  </a:lnTo>
                  <a:lnTo>
                    <a:pt x="0" y="966216"/>
                  </a:lnTo>
                  <a:lnTo>
                    <a:pt x="1935480" y="966216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bg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/>
            <a:lstStyle/>
            <a:p>
              <a:endParaRPr lang="en-US" sz="1600"/>
            </a:p>
          </p:txBody>
        </p:sp>
        <p:sp>
          <p:nvSpPr>
            <p:cNvPr id="6" name="object 16">
              <a:extLst>
                <a:ext uri="{FF2B5EF4-FFF2-40B4-BE49-F238E27FC236}">
                  <a16:creationId xmlns:a16="http://schemas.microsoft.com/office/drawing/2014/main" id="{AA77E515-D914-14B8-2810-6554E7AAE17E}"/>
                </a:ext>
              </a:extLst>
            </p:cNvPr>
            <p:cNvSpPr>
              <a:spLocks/>
            </p:cNvSpPr>
            <p:nvPr/>
          </p:nvSpPr>
          <p:spPr>
            <a:xfrm>
              <a:off x="9160779" y="2717399"/>
              <a:ext cx="1043806" cy="522997"/>
            </a:xfrm>
            <a:custGeom>
              <a:avLst/>
              <a:gdLst/>
              <a:ahLst/>
              <a:cxnLst/>
              <a:rect l="l" t="t" r="r" b="b"/>
              <a:pathLst>
                <a:path w="1935479" h="969645">
                  <a:moveTo>
                    <a:pt x="1935480" y="0"/>
                  </a:moveTo>
                  <a:lnTo>
                    <a:pt x="0" y="0"/>
                  </a:lnTo>
                  <a:lnTo>
                    <a:pt x="1676400" y="969264"/>
                  </a:lnTo>
                  <a:lnTo>
                    <a:pt x="1706880" y="909828"/>
                  </a:lnTo>
                  <a:lnTo>
                    <a:pt x="1738884" y="853440"/>
                  </a:lnTo>
                  <a:lnTo>
                    <a:pt x="1766316" y="795528"/>
                  </a:lnTo>
                  <a:lnTo>
                    <a:pt x="1790700" y="736092"/>
                  </a:lnTo>
                  <a:lnTo>
                    <a:pt x="1815084" y="678180"/>
                  </a:lnTo>
                  <a:lnTo>
                    <a:pt x="1837944" y="620268"/>
                  </a:lnTo>
                  <a:lnTo>
                    <a:pt x="1856232" y="562356"/>
                  </a:lnTo>
                  <a:lnTo>
                    <a:pt x="1872996" y="501396"/>
                  </a:lnTo>
                  <a:lnTo>
                    <a:pt x="1900428" y="382524"/>
                  </a:lnTo>
                  <a:lnTo>
                    <a:pt x="1911096" y="320040"/>
                  </a:lnTo>
                  <a:lnTo>
                    <a:pt x="1920240" y="259080"/>
                  </a:lnTo>
                  <a:lnTo>
                    <a:pt x="1927860" y="196596"/>
                  </a:lnTo>
                  <a:lnTo>
                    <a:pt x="1932432" y="131064"/>
                  </a:lnTo>
                  <a:lnTo>
                    <a:pt x="1935480" y="0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bg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/>
            <a:lstStyle/>
            <a:p>
              <a:endParaRPr lang="en-US" sz="1600"/>
            </a:p>
          </p:txBody>
        </p:sp>
        <p:sp>
          <p:nvSpPr>
            <p:cNvPr id="7" name="object 17">
              <a:extLst>
                <a:ext uri="{FF2B5EF4-FFF2-40B4-BE49-F238E27FC236}">
                  <a16:creationId xmlns:a16="http://schemas.microsoft.com/office/drawing/2014/main" id="{D65416D4-CA97-6429-90CF-1D2B5F9056DE}"/>
                </a:ext>
              </a:extLst>
            </p:cNvPr>
            <p:cNvSpPr>
              <a:spLocks/>
            </p:cNvSpPr>
            <p:nvPr/>
          </p:nvSpPr>
          <p:spPr>
            <a:xfrm>
              <a:off x="9160779" y="2717399"/>
              <a:ext cx="904083" cy="905226"/>
            </a:xfrm>
            <a:custGeom>
              <a:avLst/>
              <a:gdLst/>
              <a:ahLst/>
              <a:cxnLst/>
              <a:rect l="l" t="t" r="r" b="b"/>
              <a:pathLst>
                <a:path w="1676400" h="1678304">
                  <a:moveTo>
                    <a:pt x="1676400" y="969264"/>
                  </a:moveTo>
                  <a:lnTo>
                    <a:pt x="0" y="0"/>
                  </a:lnTo>
                  <a:lnTo>
                    <a:pt x="967740" y="1677924"/>
                  </a:lnTo>
                  <a:lnTo>
                    <a:pt x="1024128" y="1641348"/>
                  </a:lnTo>
                  <a:lnTo>
                    <a:pt x="1078992" y="1607820"/>
                  </a:lnTo>
                  <a:lnTo>
                    <a:pt x="1132332" y="1571244"/>
                  </a:lnTo>
                  <a:lnTo>
                    <a:pt x="1184148" y="1534668"/>
                  </a:lnTo>
                  <a:lnTo>
                    <a:pt x="1232916" y="1495044"/>
                  </a:lnTo>
                  <a:lnTo>
                    <a:pt x="1280160" y="1455420"/>
                  </a:lnTo>
                  <a:lnTo>
                    <a:pt x="1325880" y="1414272"/>
                  </a:lnTo>
                  <a:lnTo>
                    <a:pt x="1370076" y="1371600"/>
                  </a:lnTo>
                  <a:lnTo>
                    <a:pt x="1412748" y="1327404"/>
                  </a:lnTo>
                  <a:lnTo>
                    <a:pt x="1455420" y="1280160"/>
                  </a:lnTo>
                  <a:lnTo>
                    <a:pt x="1495044" y="1232916"/>
                  </a:lnTo>
                  <a:lnTo>
                    <a:pt x="1534668" y="1184148"/>
                  </a:lnTo>
                  <a:lnTo>
                    <a:pt x="1572768" y="1132332"/>
                  </a:lnTo>
                  <a:lnTo>
                    <a:pt x="1607820" y="1080516"/>
                  </a:lnTo>
                  <a:lnTo>
                    <a:pt x="1642872" y="1025652"/>
                  </a:lnTo>
                  <a:lnTo>
                    <a:pt x="1676400" y="969264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bg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/>
            <a:lstStyle/>
            <a:p>
              <a:endParaRPr lang="en-US" sz="1600"/>
            </a:p>
          </p:txBody>
        </p:sp>
        <p:sp>
          <p:nvSpPr>
            <p:cNvPr id="9" name="object 18">
              <a:extLst>
                <a:ext uri="{FF2B5EF4-FFF2-40B4-BE49-F238E27FC236}">
                  <a16:creationId xmlns:a16="http://schemas.microsoft.com/office/drawing/2014/main" id="{F95AF49D-56AB-1FC8-AD35-2FD11FE3D098}"/>
                </a:ext>
              </a:extLst>
            </p:cNvPr>
            <p:cNvSpPr>
              <a:spLocks/>
            </p:cNvSpPr>
            <p:nvPr/>
          </p:nvSpPr>
          <p:spPr>
            <a:xfrm>
              <a:off x="8255873" y="2717399"/>
              <a:ext cx="905110" cy="905226"/>
            </a:xfrm>
            <a:custGeom>
              <a:avLst/>
              <a:gdLst/>
              <a:ahLst/>
              <a:cxnLst/>
              <a:rect l="l" t="t" r="r" b="b"/>
              <a:pathLst>
                <a:path w="1678304" h="1678304">
                  <a:moveTo>
                    <a:pt x="1677924" y="0"/>
                  </a:moveTo>
                  <a:lnTo>
                    <a:pt x="0" y="969264"/>
                  </a:lnTo>
                  <a:lnTo>
                    <a:pt x="35052" y="1025652"/>
                  </a:lnTo>
                  <a:lnTo>
                    <a:pt x="70104" y="1080516"/>
                  </a:lnTo>
                  <a:lnTo>
                    <a:pt x="105156" y="1132332"/>
                  </a:lnTo>
                  <a:lnTo>
                    <a:pt x="143256" y="1184148"/>
                  </a:lnTo>
                  <a:lnTo>
                    <a:pt x="220980" y="1280160"/>
                  </a:lnTo>
                  <a:lnTo>
                    <a:pt x="263652" y="1327404"/>
                  </a:lnTo>
                  <a:lnTo>
                    <a:pt x="306324" y="1371600"/>
                  </a:lnTo>
                  <a:lnTo>
                    <a:pt x="350520" y="1414272"/>
                  </a:lnTo>
                  <a:lnTo>
                    <a:pt x="396240" y="1455420"/>
                  </a:lnTo>
                  <a:lnTo>
                    <a:pt x="443484" y="1495044"/>
                  </a:lnTo>
                  <a:lnTo>
                    <a:pt x="493776" y="1534668"/>
                  </a:lnTo>
                  <a:lnTo>
                    <a:pt x="545592" y="1571244"/>
                  </a:lnTo>
                  <a:lnTo>
                    <a:pt x="598932" y="1607820"/>
                  </a:lnTo>
                  <a:lnTo>
                    <a:pt x="710184" y="1677924"/>
                  </a:lnTo>
                  <a:lnTo>
                    <a:pt x="1677924" y="0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bg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/>
            <a:lstStyle/>
            <a:p>
              <a:endParaRPr lang="en-US" sz="1600"/>
            </a:p>
          </p:txBody>
        </p:sp>
        <p:sp>
          <p:nvSpPr>
            <p:cNvPr id="11" name="object 19">
              <a:extLst>
                <a:ext uri="{FF2B5EF4-FFF2-40B4-BE49-F238E27FC236}">
                  <a16:creationId xmlns:a16="http://schemas.microsoft.com/office/drawing/2014/main" id="{A9A1FEB4-E406-9C95-9AA6-4C69F5A56D50}"/>
                </a:ext>
              </a:extLst>
            </p:cNvPr>
            <p:cNvSpPr>
              <a:spLocks/>
            </p:cNvSpPr>
            <p:nvPr/>
          </p:nvSpPr>
          <p:spPr>
            <a:xfrm>
              <a:off x="8116974" y="2717399"/>
              <a:ext cx="1043806" cy="522997"/>
            </a:xfrm>
            <a:custGeom>
              <a:avLst/>
              <a:gdLst/>
              <a:ahLst/>
              <a:cxnLst/>
              <a:rect l="l" t="t" r="r" b="b"/>
              <a:pathLst>
                <a:path w="1935479" h="969645">
                  <a:moveTo>
                    <a:pt x="1935480" y="0"/>
                  </a:moveTo>
                  <a:lnTo>
                    <a:pt x="0" y="0"/>
                  </a:lnTo>
                  <a:lnTo>
                    <a:pt x="0" y="67056"/>
                  </a:lnTo>
                  <a:lnTo>
                    <a:pt x="1524" y="131064"/>
                  </a:lnTo>
                  <a:lnTo>
                    <a:pt x="7620" y="196596"/>
                  </a:lnTo>
                  <a:lnTo>
                    <a:pt x="22860" y="320040"/>
                  </a:lnTo>
                  <a:lnTo>
                    <a:pt x="35052" y="382524"/>
                  </a:lnTo>
                  <a:lnTo>
                    <a:pt x="47244" y="441960"/>
                  </a:lnTo>
                  <a:lnTo>
                    <a:pt x="62484" y="501396"/>
                  </a:lnTo>
                  <a:lnTo>
                    <a:pt x="79248" y="562356"/>
                  </a:lnTo>
                  <a:lnTo>
                    <a:pt x="118872" y="678180"/>
                  </a:lnTo>
                  <a:lnTo>
                    <a:pt x="143256" y="736092"/>
                  </a:lnTo>
                  <a:lnTo>
                    <a:pt x="167640" y="795528"/>
                  </a:lnTo>
                  <a:lnTo>
                    <a:pt x="195072" y="853440"/>
                  </a:lnTo>
                  <a:lnTo>
                    <a:pt x="227076" y="909828"/>
                  </a:lnTo>
                  <a:lnTo>
                    <a:pt x="257556" y="969264"/>
                  </a:lnTo>
                  <a:lnTo>
                    <a:pt x="1935480" y="0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bg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/>
            <a:lstStyle/>
            <a:p>
              <a:endParaRPr lang="en-US" sz="1600"/>
            </a:p>
          </p:txBody>
        </p:sp>
        <p:sp>
          <p:nvSpPr>
            <p:cNvPr id="12" name="object 20">
              <a:extLst>
                <a:ext uri="{FF2B5EF4-FFF2-40B4-BE49-F238E27FC236}">
                  <a16:creationId xmlns:a16="http://schemas.microsoft.com/office/drawing/2014/main" id="{BEC45F00-6466-A6DB-A87D-76D892C2648B}"/>
                </a:ext>
              </a:extLst>
            </p:cNvPr>
            <p:cNvSpPr>
              <a:spLocks/>
            </p:cNvSpPr>
            <p:nvPr/>
          </p:nvSpPr>
          <p:spPr>
            <a:xfrm>
              <a:off x="8116974" y="2196252"/>
              <a:ext cx="1043806" cy="521283"/>
            </a:xfrm>
            <a:custGeom>
              <a:avLst/>
              <a:gdLst/>
              <a:ahLst/>
              <a:cxnLst/>
              <a:rect l="l" t="t" r="r" b="b"/>
              <a:pathLst>
                <a:path w="1935479" h="966470">
                  <a:moveTo>
                    <a:pt x="1935480" y="966216"/>
                  </a:moveTo>
                  <a:lnTo>
                    <a:pt x="257556" y="0"/>
                  </a:lnTo>
                  <a:lnTo>
                    <a:pt x="227076" y="56388"/>
                  </a:lnTo>
                  <a:lnTo>
                    <a:pt x="195072" y="114300"/>
                  </a:lnTo>
                  <a:lnTo>
                    <a:pt x="167640" y="172212"/>
                  </a:lnTo>
                  <a:lnTo>
                    <a:pt x="118872" y="288036"/>
                  </a:lnTo>
                  <a:lnTo>
                    <a:pt x="79248" y="405384"/>
                  </a:lnTo>
                  <a:lnTo>
                    <a:pt x="62484" y="464820"/>
                  </a:lnTo>
                  <a:lnTo>
                    <a:pt x="47244" y="524256"/>
                  </a:lnTo>
                  <a:lnTo>
                    <a:pt x="22860" y="646176"/>
                  </a:lnTo>
                  <a:lnTo>
                    <a:pt x="7620" y="772668"/>
                  </a:lnTo>
                  <a:lnTo>
                    <a:pt x="1524" y="835152"/>
                  </a:lnTo>
                  <a:lnTo>
                    <a:pt x="0" y="900684"/>
                  </a:lnTo>
                  <a:lnTo>
                    <a:pt x="0" y="966216"/>
                  </a:lnTo>
                  <a:lnTo>
                    <a:pt x="1935480" y="966216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bg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/>
            <a:lstStyle/>
            <a:p>
              <a:endParaRPr lang="en-US" sz="1600"/>
            </a:p>
          </p:txBody>
        </p:sp>
        <p:sp>
          <p:nvSpPr>
            <p:cNvPr id="13" name="object 21">
              <a:extLst>
                <a:ext uri="{FF2B5EF4-FFF2-40B4-BE49-F238E27FC236}">
                  <a16:creationId xmlns:a16="http://schemas.microsoft.com/office/drawing/2014/main" id="{FC7C228E-F66F-1C57-6F5E-D229A53240AF}"/>
                </a:ext>
              </a:extLst>
            </p:cNvPr>
            <p:cNvSpPr>
              <a:spLocks/>
            </p:cNvSpPr>
            <p:nvPr/>
          </p:nvSpPr>
          <p:spPr>
            <a:xfrm>
              <a:off x="8255873" y="1814023"/>
              <a:ext cx="905110" cy="903513"/>
            </a:xfrm>
            <a:custGeom>
              <a:avLst/>
              <a:gdLst/>
              <a:ahLst/>
              <a:cxnLst/>
              <a:rect l="l" t="t" r="r" b="b"/>
              <a:pathLst>
                <a:path w="1678304" h="1675129">
                  <a:moveTo>
                    <a:pt x="1677924" y="1674876"/>
                  </a:moveTo>
                  <a:lnTo>
                    <a:pt x="710184" y="0"/>
                  </a:lnTo>
                  <a:lnTo>
                    <a:pt x="652272" y="33528"/>
                  </a:lnTo>
                  <a:lnTo>
                    <a:pt x="598932" y="67056"/>
                  </a:lnTo>
                  <a:lnTo>
                    <a:pt x="545592" y="103632"/>
                  </a:lnTo>
                  <a:lnTo>
                    <a:pt x="493776" y="141732"/>
                  </a:lnTo>
                  <a:lnTo>
                    <a:pt x="443484" y="179832"/>
                  </a:lnTo>
                  <a:lnTo>
                    <a:pt x="396240" y="220980"/>
                  </a:lnTo>
                  <a:lnTo>
                    <a:pt x="350520" y="262128"/>
                  </a:lnTo>
                  <a:lnTo>
                    <a:pt x="306324" y="304800"/>
                  </a:lnTo>
                  <a:lnTo>
                    <a:pt x="263652" y="348996"/>
                  </a:lnTo>
                  <a:lnTo>
                    <a:pt x="220980" y="394716"/>
                  </a:lnTo>
                  <a:lnTo>
                    <a:pt x="182880" y="443484"/>
                  </a:lnTo>
                  <a:lnTo>
                    <a:pt x="143256" y="490728"/>
                  </a:lnTo>
                  <a:lnTo>
                    <a:pt x="105156" y="542544"/>
                  </a:lnTo>
                  <a:lnTo>
                    <a:pt x="70104" y="595884"/>
                  </a:lnTo>
                  <a:lnTo>
                    <a:pt x="35052" y="650748"/>
                  </a:lnTo>
                  <a:lnTo>
                    <a:pt x="0" y="708660"/>
                  </a:lnTo>
                  <a:lnTo>
                    <a:pt x="1677924" y="1674876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bg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/>
            <a:lstStyle/>
            <a:p>
              <a:endParaRPr lang="en-US" sz="1600"/>
            </a:p>
          </p:txBody>
        </p:sp>
        <p:sp>
          <p:nvSpPr>
            <p:cNvPr id="14" name="object 22">
              <a:extLst>
                <a:ext uri="{FF2B5EF4-FFF2-40B4-BE49-F238E27FC236}">
                  <a16:creationId xmlns:a16="http://schemas.microsoft.com/office/drawing/2014/main" id="{A4AE6871-57E5-5706-83A8-AE32A88D6350}"/>
                </a:ext>
              </a:extLst>
            </p:cNvPr>
            <p:cNvSpPr>
              <a:spLocks/>
            </p:cNvSpPr>
            <p:nvPr/>
          </p:nvSpPr>
          <p:spPr>
            <a:xfrm>
              <a:off x="8638876" y="1673460"/>
              <a:ext cx="521903" cy="1043938"/>
            </a:xfrm>
            <a:custGeom>
              <a:avLst/>
              <a:gdLst/>
              <a:ahLst/>
              <a:cxnLst/>
              <a:rect l="l" t="t" r="r" b="b"/>
              <a:pathLst>
                <a:path w="967739" h="1935479">
                  <a:moveTo>
                    <a:pt x="967740" y="1935480"/>
                  </a:moveTo>
                  <a:lnTo>
                    <a:pt x="967740" y="0"/>
                  </a:lnTo>
                  <a:lnTo>
                    <a:pt x="900684" y="1524"/>
                  </a:lnTo>
                  <a:lnTo>
                    <a:pt x="835152" y="4572"/>
                  </a:lnTo>
                  <a:lnTo>
                    <a:pt x="772668" y="9144"/>
                  </a:lnTo>
                  <a:lnTo>
                    <a:pt x="710184" y="15240"/>
                  </a:lnTo>
                  <a:lnTo>
                    <a:pt x="646176" y="24384"/>
                  </a:lnTo>
                  <a:lnTo>
                    <a:pt x="585216" y="35052"/>
                  </a:lnTo>
                  <a:lnTo>
                    <a:pt x="525780" y="47244"/>
                  </a:lnTo>
                  <a:lnTo>
                    <a:pt x="466344" y="62484"/>
                  </a:lnTo>
                  <a:lnTo>
                    <a:pt x="406908" y="79248"/>
                  </a:lnTo>
                  <a:lnTo>
                    <a:pt x="345948" y="99060"/>
                  </a:lnTo>
                  <a:lnTo>
                    <a:pt x="288036" y="121920"/>
                  </a:lnTo>
                  <a:lnTo>
                    <a:pt x="231648" y="143256"/>
                  </a:lnTo>
                  <a:lnTo>
                    <a:pt x="172212" y="170688"/>
                  </a:lnTo>
                  <a:lnTo>
                    <a:pt x="114300" y="198120"/>
                  </a:lnTo>
                  <a:lnTo>
                    <a:pt x="57912" y="227076"/>
                  </a:lnTo>
                  <a:lnTo>
                    <a:pt x="0" y="260604"/>
                  </a:lnTo>
                  <a:lnTo>
                    <a:pt x="967740" y="1935480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bg1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/>
            <a:lstStyle/>
            <a:p>
              <a:endParaRPr lang="en-US" sz="1600"/>
            </a:p>
          </p:txBody>
        </p:sp>
        <p:sp>
          <p:nvSpPr>
            <p:cNvPr id="15" name="Ellipse 30">
              <a:extLst>
                <a:ext uri="{FF2B5EF4-FFF2-40B4-BE49-F238E27FC236}">
                  <a16:creationId xmlns:a16="http://schemas.microsoft.com/office/drawing/2014/main" id="{9590672F-38E9-4F1B-4610-60CB87ED0906}"/>
                </a:ext>
              </a:extLst>
            </p:cNvPr>
            <p:cNvSpPr>
              <a:spLocks/>
            </p:cNvSpPr>
            <p:nvPr/>
          </p:nvSpPr>
          <p:spPr>
            <a:xfrm>
              <a:off x="8009856" y="1566261"/>
              <a:ext cx="2302257" cy="2302549"/>
            </a:xfrm>
            <a:prstGeom prst="ellipse">
              <a:avLst/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0">
                <a:solidFill>
                  <a:schemeClr val="tx1"/>
                </a:solidFill>
                <a:latin typeface="Verdana" pitchFamily="34" charset="0"/>
                <a:ea typeface="Verdana" pitchFamily="34" charset="0"/>
              </a:endParaRPr>
            </a:p>
          </p:txBody>
        </p:sp>
        <p:sp>
          <p:nvSpPr>
            <p:cNvPr id="16" name="Ellipse 31">
              <a:extLst>
                <a:ext uri="{FF2B5EF4-FFF2-40B4-BE49-F238E27FC236}">
                  <a16:creationId xmlns:a16="http://schemas.microsoft.com/office/drawing/2014/main" id="{4A10EA95-17F3-AAE9-7FC3-C4D599789CF3}"/>
                </a:ext>
              </a:extLst>
            </p:cNvPr>
            <p:cNvSpPr>
              <a:spLocks/>
            </p:cNvSpPr>
            <p:nvPr/>
          </p:nvSpPr>
          <p:spPr>
            <a:xfrm>
              <a:off x="8186738" y="1743236"/>
              <a:ext cx="1948082" cy="1948326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7" name="Textplatzhalter 8">
              <a:extLst>
                <a:ext uri="{FF2B5EF4-FFF2-40B4-BE49-F238E27FC236}">
                  <a16:creationId xmlns:a16="http://schemas.microsoft.com/office/drawing/2014/main" id="{6AE928B1-F15A-2925-5E99-C2ADED07F3C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812538" y="3482494"/>
              <a:ext cx="696478" cy="22410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None/>
                <a:defRPr lang="de-DE" sz="30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7780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2"/>
                </a:buClr>
                <a:buSzPct val="80000"/>
                <a:buFont typeface="Wingdings" pitchFamily="2" charset="2"/>
                <a:buChar char="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415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975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755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 b="1">
                  <a:solidFill>
                    <a:schemeClr val="accent1"/>
                  </a:solidFill>
                </a:rPr>
                <a:t>100%</a:t>
              </a:r>
            </a:p>
          </p:txBody>
        </p:sp>
        <p:sp>
          <p:nvSpPr>
            <p:cNvPr id="8" name="Line 6">
              <a:extLst>
                <a:ext uri="{FF2B5EF4-FFF2-40B4-BE49-F238E27FC236}">
                  <a16:creationId xmlns:a16="http://schemas.microsoft.com/office/drawing/2014/main" id="{EBE95D57-9E4A-564C-06FF-9E50EDA30CA3}"/>
                </a:ext>
              </a:extLst>
            </p:cNvPr>
            <p:cNvSpPr>
              <a:spLocks/>
            </p:cNvSpPr>
            <p:nvPr/>
          </p:nvSpPr>
          <p:spPr bwMode="auto">
            <a:xfrm rot="9000000" flipH="1">
              <a:off x="9433375" y="2655607"/>
              <a:ext cx="0" cy="1038099"/>
            </a:xfrm>
            <a:prstGeom prst="line">
              <a:avLst/>
            </a:prstGeom>
            <a:noFill/>
            <a:ln w="38100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41" name="Ellipse 34">
              <a:extLst>
                <a:ext uri="{FF2B5EF4-FFF2-40B4-BE49-F238E27FC236}">
                  <a16:creationId xmlns:a16="http://schemas.microsoft.com/office/drawing/2014/main" id="{F8A5A175-9AD6-35E8-1BA7-F708B73BDC4B}"/>
                </a:ext>
              </a:extLst>
            </p:cNvPr>
            <p:cNvSpPr>
              <a:spLocks/>
            </p:cNvSpPr>
            <p:nvPr/>
          </p:nvSpPr>
          <p:spPr>
            <a:xfrm rot="7200000">
              <a:off x="9077340" y="2633950"/>
              <a:ext cx="166877" cy="166899"/>
            </a:xfrm>
            <a:prstGeom prst="ellipse">
              <a:avLst/>
            </a:prstGeom>
            <a:solidFill>
              <a:schemeClr val="accent6"/>
            </a:solidFill>
            <a:ln w="38100" cap="rnd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chemeClr val="tx1"/>
                </a:solidFill>
                <a:latin typeface="Segoe UI" charset="0"/>
              </a:endParaRPr>
            </a:p>
          </p:txBody>
        </p:sp>
      </p:grpSp>
      <p:cxnSp>
        <p:nvCxnSpPr>
          <p:cNvPr id="42" name="Gerader Verbinder 65">
            <a:extLst>
              <a:ext uri="{FF2B5EF4-FFF2-40B4-BE49-F238E27FC236}">
                <a16:creationId xmlns:a16="http://schemas.microsoft.com/office/drawing/2014/main" id="{CD33E4B0-2C34-C7B9-6405-86AFFABCCE89}"/>
              </a:ext>
            </a:extLst>
          </p:cNvPr>
          <p:cNvCxnSpPr>
            <a:cxnSpLocks/>
          </p:cNvCxnSpPr>
          <p:nvPr/>
        </p:nvCxnSpPr>
        <p:spPr>
          <a:xfrm>
            <a:off x="2000458" y="2717332"/>
            <a:ext cx="1084543" cy="0"/>
          </a:xfrm>
          <a:prstGeom prst="line">
            <a:avLst/>
          </a:prstGeom>
          <a:noFill/>
          <a:ln w="38100" cap="rnd">
            <a:solidFill>
              <a:schemeClr val="accent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43" name="Ellipse 66">
            <a:extLst>
              <a:ext uri="{FF2B5EF4-FFF2-40B4-BE49-F238E27FC236}">
                <a16:creationId xmlns:a16="http://schemas.microsoft.com/office/drawing/2014/main" id="{905D46BB-7E25-822A-AFC6-A3BD5DCC97DE}"/>
              </a:ext>
            </a:extLst>
          </p:cNvPr>
          <p:cNvSpPr>
            <a:spLocks/>
          </p:cNvSpPr>
          <p:nvPr/>
        </p:nvSpPr>
        <p:spPr>
          <a:xfrm>
            <a:off x="2983881" y="2633949"/>
            <a:ext cx="166877" cy="166899"/>
          </a:xfrm>
          <a:prstGeom prst="ellipse">
            <a:avLst/>
          </a:prstGeom>
          <a:solidFill>
            <a:schemeClr val="accent6"/>
          </a:solidFill>
          <a:ln w="38100" cap="rnd">
            <a:solidFill>
              <a:schemeClr val="accent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chemeClr val="accent1"/>
              </a:solidFill>
              <a:latin typeface="Segoe UI" charset="0"/>
            </a:endParaRPr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B1510D31-EFC4-09E2-CBE5-41FA09DA04E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85229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comparison, comparisons, percent, percentage, barometer, gauge, gauges</a:t>
            </a:r>
          </a:p>
        </p:txBody>
      </p:sp>
    </p:spTree>
    <p:extLst>
      <p:ext uri="{BB962C8B-B14F-4D97-AF65-F5344CB8AC3E}">
        <p14:creationId xmlns:p14="http://schemas.microsoft.com/office/powerpoint/2010/main" val="7840276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